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697" r:id="rId1"/>
  </p:sldMasterIdLst>
  <p:sldIdLst>
    <p:sldId id="256" r:id="rId2"/>
  </p:sldIdLst>
  <p:sldSz cx="9906000" cy="6858000" type="A4"/>
  <p:notesSz cx="6808788" cy="99409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1pPr>
    <a:lvl2pPr marL="488701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2pPr>
    <a:lvl3pPr marL="977402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3pPr>
    <a:lvl4pPr marL="1466103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4pPr>
    <a:lvl5pPr marL="1954804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5pPr>
    <a:lvl6pPr marL="2443505" algn="l" defTabSz="977402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6pPr>
    <a:lvl7pPr marL="2932206" algn="l" defTabSz="977402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7pPr>
    <a:lvl8pPr marL="3420908" algn="l" defTabSz="977402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8pPr>
    <a:lvl9pPr marL="3909609" algn="l" defTabSz="977402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1" userDrawn="1">
          <p15:clr>
            <a:srgbClr val="A4A3A4"/>
          </p15:clr>
        </p15:guide>
        <p15:guide id="2" orient="horz" pos="485" userDrawn="1">
          <p15:clr>
            <a:srgbClr val="A4A3A4"/>
          </p15:clr>
        </p15:guide>
        <p15:guide id="3" orient="horz" pos="430" userDrawn="1">
          <p15:clr>
            <a:srgbClr val="A4A3A4"/>
          </p15:clr>
        </p15:guide>
        <p15:guide id="4" orient="horz" pos="3818" userDrawn="1">
          <p15:clr>
            <a:srgbClr val="A4A3A4"/>
          </p15:clr>
        </p15:guide>
        <p15:guide id="5" pos="204" userDrawn="1">
          <p15:clr>
            <a:srgbClr val="A4A3A4"/>
          </p15:clr>
        </p15:guide>
        <p15:guide id="6" pos="6037" userDrawn="1">
          <p15:clr>
            <a:srgbClr val="A4A3A4"/>
          </p15:clr>
        </p15:guide>
        <p15:guide id="7" pos="4319" userDrawn="1">
          <p15:clr>
            <a:srgbClr val="A4A3A4"/>
          </p15:clr>
        </p15:guide>
        <p15:guide id="8" orient="horz" pos="3709" userDrawn="1">
          <p15:clr>
            <a:srgbClr val="A4A3A4"/>
          </p15:clr>
        </p15:guide>
        <p15:guide id="9" orient="horz" pos="712" userDrawn="1">
          <p15:clr>
            <a:srgbClr val="A4A3A4"/>
          </p15:clr>
        </p15:guide>
        <p15:guide id="10" orient="horz" pos="4172" userDrawn="1">
          <p15:clr>
            <a:srgbClr val="A4A3A4"/>
          </p15:clr>
        </p15:guide>
        <p15:guide id="11" orient="horz" pos="685" userDrawn="1">
          <p15:clr>
            <a:srgbClr val="A4A3A4"/>
          </p15:clr>
        </p15:guide>
        <p15:guide id="12" orient="horz" pos="3880" userDrawn="1">
          <p15:clr>
            <a:srgbClr val="A4A3A4"/>
          </p15:clr>
        </p15:guide>
        <p15:guide id="13" pos="430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7F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94" autoAdjust="0"/>
    <p:restoredTop sz="94660"/>
  </p:normalViewPr>
  <p:slideViewPr>
    <p:cSldViewPr snapToGrid="0">
      <p:cViewPr varScale="1">
        <p:scale>
          <a:sx n="86" d="100"/>
          <a:sy n="86" d="100"/>
        </p:scale>
        <p:origin x="970" y="62"/>
      </p:cViewPr>
      <p:guideLst>
        <p:guide orient="horz" pos="631"/>
        <p:guide orient="horz" pos="485"/>
        <p:guide orient="horz" pos="430"/>
        <p:guide orient="horz" pos="3818"/>
        <p:guide pos="204"/>
        <p:guide pos="6037"/>
        <p:guide pos="4319"/>
        <p:guide orient="horz" pos="3709"/>
        <p:guide orient="horz" pos="712"/>
        <p:guide orient="horz" pos="4172"/>
        <p:guide orient="horz" pos="685"/>
        <p:guide orient="horz" pos="3880"/>
        <p:guide pos="430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4.wdp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2.wdp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3.wdp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051971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Bildobjekt 109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1"/>
            <a:ext cx="9906002" cy="6858000"/>
          </a:xfrm>
          <a:prstGeom prst="rect">
            <a:avLst/>
          </a:prstGeom>
        </p:spPr>
      </p:pic>
      <p:sp>
        <p:nvSpPr>
          <p:cNvPr id="112" name="Rektangel med rundade hörn på samma sida 111"/>
          <p:cNvSpPr/>
          <p:nvPr/>
        </p:nvSpPr>
        <p:spPr>
          <a:xfrm rot="16200000">
            <a:off x="4616430" y="544520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745" dirty="0" err="1">
              <a:solidFill>
                <a:schemeClr val="tx1"/>
              </a:solidFill>
            </a:endParaRP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5112803"/>
            <a:ext cx="5713718" cy="219820"/>
          </a:xfrm>
        </p:spPr>
        <p:txBody>
          <a:bodyPr wrap="square">
            <a:spAutoFit/>
          </a:bodyPr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5394809"/>
            <a:ext cx="5718983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28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Datum</a:t>
            </a:r>
            <a:endParaRPr lang="en-GB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4292558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69160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5365686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objekt 7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9718"/>
            <a:ext cx="9906002" cy="6848282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/>
        </p:nvSpPr>
        <p:spPr bwMode="auto">
          <a:xfrm rot="10800000">
            <a:off x="0" y="6454683"/>
            <a:ext cx="9906000" cy="403317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3287" tIns="46644" rIns="93287" bIns="46644" anchor="ctr"/>
          <a:lstStyle/>
          <a:p>
            <a:pPr algn="ctr">
              <a:defRPr/>
            </a:pPr>
            <a:endParaRPr lang="sv-SE" sz="1745"/>
          </a:p>
        </p:txBody>
      </p:sp>
      <p:sp>
        <p:nvSpPr>
          <p:cNvPr id="9" name="Rektangel med rundade hörn på samma sida 8"/>
          <p:cNvSpPr/>
          <p:nvPr/>
        </p:nvSpPr>
        <p:spPr>
          <a:xfrm rot="5400000" flipH="1">
            <a:off x="3288309" y="10508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1162" tIns="36731" rIns="73462" bIns="36731" rtlCol="0" anchor="ctr" anchorCtr="0"/>
          <a:lstStyle/>
          <a:p>
            <a:pPr lvl="0"/>
            <a:endParaRPr lang="en-GB" sz="2041" b="1" kern="0" dirty="0" err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2445" y="4004673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/>
              <a:t> </a:t>
            </a:r>
            <a:endParaRPr lang="en-US" dirty="0"/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61286" y="6507557"/>
            <a:ext cx="1422144" cy="286273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/>
        </p:nvCxnSpPr>
        <p:spPr>
          <a:xfrm>
            <a:off x="0" y="6454872"/>
            <a:ext cx="9906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ARBETSMATERIAL</a:t>
            </a:r>
          </a:p>
        </p:txBody>
      </p:sp>
    </p:spTree>
    <p:extLst>
      <p:ext uri="{BB962C8B-B14F-4D97-AF65-F5344CB8AC3E}">
        <p14:creationId xmlns:p14="http://schemas.microsoft.com/office/powerpoint/2010/main" val="148423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tv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8471627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objekt 10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16" r="1608"/>
          <a:stretch/>
        </p:blipFill>
        <p:spPr>
          <a:xfrm>
            <a:off x="0" y="0"/>
            <a:ext cx="9925304" cy="6446585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/>
        </p:nvSpPr>
        <p:spPr bwMode="auto">
          <a:xfrm rot="10800000">
            <a:off x="0" y="6454683"/>
            <a:ext cx="9906000" cy="403317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3287" tIns="46644" rIns="93287" bIns="46644" anchor="ctr"/>
          <a:lstStyle/>
          <a:p>
            <a:pPr algn="ctr">
              <a:defRPr/>
            </a:pPr>
            <a:endParaRPr lang="sv-SE" sz="1745"/>
          </a:p>
        </p:txBody>
      </p:sp>
      <p:sp>
        <p:nvSpPr>
          <p:cNvPr id="9" name="Rektangel med rundade hörn på samma sida 8"/>
          <p:cNvSpPr/>
          <p:nvPr/>
        </p:nvSpPr>
        <p:spPr>
          <a:xfrm rot="5400000" flipH="1">
            <a:off x="3288309" y="10508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1162" tIns="36731" rIns="73462" bIns="36731" rtlCol="0" anchor="ctr" anchorCtr="0"/>
          <a:lstStyle/>
          <a:p>
            <a:pPr lvl="0"/>
            <a:endParaRPr lang="en-GB" sz="2041" b="1" kern="0" dirty="0" err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2445" y="4004673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/>
              <a:t> </a:t>
            </a:r>
            <a:endParaRPr lang="en-US" dirty="0"/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61286" y="6507557"/>
            <a:ext cx="1422144" cy="286273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/>
        </p:nvCxnSpPr>
        <p:spPr>
          <a:xfrm>
            <a:off x="0" y="6454872"/>
            <a:ext cx="9906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ARBETSMATERIAL</a:t>
            </a:r>
          </a:p>
        </p:txBody>
      </p:sp>
    </p:spTree>
    <p:extLst>
      <p:ext uri="{BB962C8B-B14F-4D97-AF65-F5344CB8AC3E}">
        <p14:creationId xmlns:p14="http://schemas.microsoft.com/office/powerpoint/2010/main" val="14798239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7409793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dobjekt 1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1" r="3080"/>
          <a:stretch/>
        </p:blipFill>
        <p:spPr>
          <a:xfrm flipH="1">
            <a:off x="0" y="1"/>
            <a:ext cx="9906000" cy="6478344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/>
        </p:nvSpPr>
        <p:spPr bwMode="auto">
          <a:xfrm rot="10800000">
            <a:off x="0" y="6454683"/>
            <a:ext cx="9906000" cy="403317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3287" tIns="46644" rIns="93287" bIns="46644" anchor="ctr"/>
          <a:lstStyle/>
          <a:p>
            <a:pPr algn="ctr">
              <a:defRPr/>
            </a:pPr>
            <a:endParaRPr lang="sv-SE" sz="1745"/>
          </a:p>
        </p:txBody>
      </p:sp>
      <p:sp>
        <p:nvSpPr>
          <p:cNvPr id="9" name="Rektangel med rundade hörn på samma sida 8"/>
          <p:cNvSpPr/>
          <p:nvPr/>
        </p:nvSpPr>
        <p:spPr>
          <a:xfrm rot="5400000" flipH="1">
            <a:off x="3288309" y="10508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1162" tIns="36731" rIns="73462" bIns="36731" rtlCol="0" anchor="ctr" anchorCtr="0"/>
          <a:lstStyle/>
          <a:p>
            <a:pPr lvl="0"/>
            <a:endParaRPr lang="en-GB" sz="2041" b="1" kern="0" dirty="0" err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2445" y="4004673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/>
              <a:t> </a:t>
            </a:r>
            <a:endParaRPr lang="en-US" dirty="0"/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61286" y="6507557"/>
            <a:ext cx="1422144" cy="286273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/>
        </p:nvCxnSpPr>
        <p:spPr>
          <a:xfrm>
            <a:off x="0" y="6454872"/>
            <a:ext cx="9906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ARBETSMATERIAL</a:t>
            </a:r>
          </a:p>
        </p:txBody>
      </p:sp>
    </p:spTree>
    <p:extLst>
      <p:ext uri="{BB962C8B-B14F-4D97-AF65-F5344CB8AC3E}">
        <p14:creationId xmlns:p14="http://schemas.microsoft.com/office/powerpoint/2010/main" val="27109639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ramsida 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Bildobjekt 60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9718"/>
            <a:ext cx="9906002" cy="6848282"/>
          </a:xfrm>
          <a:prstGeom prst="rect">
            <a:avLst/>
          </a:prstGeom>
        </p:spPr>
      </p:pic>
      <p:pic>
        <p:nvPicPr>
          <p:cNvPr id="64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  <p:sp>
        <p:nvSpPr>
          <p:cNvPr id="60" name="Rektangel med rundade hörn på samma sida 59"/>
          <p:cNvSpPr/>
          <p:nvPr/>
        </p:nvSpPr>
        <p:spPr>
          <a:xfrm rot="16200000">
            <a:off x="4616430" y="544520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745" dirty="0" err="1">
              <a:solidFill>
                <a:schemeClr val="tx1"/>
              </a:solidFill>
            </a:endParaRPr>
          </a:p>
        </p:txBody>
      </p:sp>
      <p:sp>
        <p:nvSpPr>
          <p:cNvPr id="62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4021695"/>
            <a:ext cx="7297922" cy="1067695"/>
          </a:xfrm>
        </p:spPr>
        <p:txBody>
          <a:bodyPr anchor="ctr" anchorCtr="0">
            <a:noAutofit/>
          </a:bodyPr>
          <a:lstStyle>
            <a:lvl1pPr>
              <a:defRPr sz="3469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6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5109668"/>
            <a:ext cx="7297922" cy="219820"/>
          </a:xfrm>
        </p:spPr>
        <p:txBody>
          <a:bodyPr wrap="square">
            <a:spAutoFit/>
          </a:bodyPr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ontext</a:t>
            </a:r>
            <a:endParaRPr lang="en-US" dirty="0"/>
          </a:p>
        </p:txBody>
      </p:sp>
      <p:sp>
        <p:nvSpPr>
          <p:cNvPr id="66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5397398"/>
            <a:ext cx="7313061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28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8249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1389132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" name="Bildobjekt 112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" y="-1"/>
            <a:ext cx="9906001" cy="6858000"/>
          </a:xfrm>
          <a:prstGeom prst="rect">
            <a:avLst/>
          </a:prstGeom>
        </p:spPr>
      </p:pic>
      <p:sp>
        <p:nvSpPr>
          <p:cNvPr id="114" name="Rektangel med rundade hörn på samma sida 113"/>
          <p:cNvSpPr/>
          <p:nvPr/>
        </p:nvSpPr>
        <p:spPr>
          <a:xfrm rot="16200000">
            <a:off x="4616431" y="-1160060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745" dirty="0" err="1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2582040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3436841"/>
            <a:ext cx="5713718" cy="219820"/>
          </a:xfrm>
        </p:spPr>
        <p:txBody>
          <a:bodyPr wrap="square">
            <a:spAutoFit/>
          </a:bodyPr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3718847"/>
            <a:ext cx="5718983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28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Datum</a:t>
            </a:r>
            <a:endParaRPr lang="en-GB" dirty="0"/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09264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84265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Bildobjekt 109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461" r="5222"/>
          <a:stretch/>
        </p:blipFill>
        <p:spPr>
          <a:xfrm>
            <a:off x="0" y="1"/>
            <a:ext cx="9906000" cy="6858000"/>
          </a:xfrm>
          <a:prstGeom prst="rect">
            <a:avLst/>
          </a:prstGeom>
        </p:spPr>
      </p:pic>
      <p:sp>
        <p:nvSpPr>
          <p:cNvPr id="112" name="Rektangel med rundade hörn på samma sida 111"/>
          <p:cNvSpPr/>
          <p:nvPr/>
        </p:nvSpPr>
        <p:spPr>
          <a:xfrm rot="16200000">
            <a:off x="4616430" y="831712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745" dirty="0" err="1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4586284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5441084"/>
            <a:ext cx="5713718" cy="219820"/>
          </a:xfrm>
        </p:spPr>
        <p:txBody>
          <a:bodyPr wrap="square">
            <a:spAutoFit/>
          </a:bodyPr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5723090"/>
            <a:ext cx="5718983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28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Datum</a:t>
            </a:r>
            <a:endParaRPr lang="en-GB" dirty="0"/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83127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3355492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3687830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4620381"/>
            <a:ext cx="5713718" cy="219820"/>
          </a:xfrm>
        </p:spPr>
        <p:txBody>
          <a:bodyPr wrap="square">
            <a:spAutoFit/>
          </a:bodyPr>
          <a:lstStyle>
            <a:lvl1pPr>
              <a:defRPr sz="1428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4902387"/>
            <a:ext cx="5718983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28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Datum</a:t>
            </a:r>
            <a:endParaRPr lang="en-GB" dirty="0"/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77994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25796" y="443248"/>
            <a:ext cx="9257316" cy="307777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4559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4559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ARBETSMATERIA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324283" y="799151"/>
            <a:ext cx="9258830" cy="282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4644" y="5887773"/>
            <a:ext cx="9258468" cy="510219"/>
          </a:xfrm>
        </p:spPr>
        <p:txBody>
          <a:bodyPr anchor="b" anchorCtr="0"/>
          <a:lstStyle>
            <a:lvl1pPr marL="628454" indent="-628454" defTabSz="639792">
              <a:lnSpc>
                <a:spcPts val="918"/>
              </a:lnSpc>
              <a:spcAft>
                <a:spcPts val="0"/>
              </a:spcAft>
              <a:tabLst>
                <a:tab pos="479439" algn="r"/>
                <a:tab pos="639792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9041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24644" y="442696"/>
            <a:ext cx="6372511" cy="307777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78500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9512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ARBETSMATERIAL</a:t>
            </a: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9"/>
          </p:nvPr>
        </p:nvSpPr>
        <p:spPr>
          <a:xfrm>
            <a:off x="6822769" y="1"/>
            <a:ext cx="3083231" cy="644495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/>
            <p:custDataLst>
              <p:tags r:id="rId1"/>
            </p:custDataLst>
          </p:nvPr>
        </p:nvSpPr>
        <p:spPr>
          <a:xfrm>
            <a:off x="324283" y="799212"/>
            <a:ext cx="6372138" cy="282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4644" y="5887773"/>
            <a:ext cx="6391215" cy="510219"/>
          </a:xfrm>
        </p:spPr>
        <p:txBody>
          <a:bodyPr anchor="b" anchorCtr="0"/>
          <a:lstStyle>
            <a:lvl1pPr marL="628454" indent="-628454" defTabSz="639792">
              <a:lnSpc>
                <a:spcPts val="918"/>
              </a:lnSpc>
              <a:spcAft>
                <a:spcPts val="0"/>
              </a:spcAft>
              <a:tabLst>
                <a:tab pos="479439" algn="r"/>
                <a:tab pos="639792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8463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25796" y="442696"/>
            <a:ext cx="6530315" cy="307777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325796" y="1130582"/>
            <a:ext cx="9257316" cy="1687901"/>
          </a:xfrm>
        </p:spPr>
        <p:txBody>
          <a:bodyPr>
            <a:spAutoFit/>
          </a:bodyPr>
          <a:lstStyle>
            <a:lvl1pPr>
              <a:spcBef>
                <a:spcPts val="1837"/>
              </a:spcBef>
              <a:spcAft>
                <a:spcPts val="0"/>
              </a:spcAft>
              <a:defRPr sz="2041"/>
            </a:lvl1pPr>
            <a:lvl2pPr>
              <a:spcBef>
                <a:spcPts val="612"/>
              </a:spcBef>
              <a:spcAft>
                <a:spcPts val="0"/>
              </a:spcAft>
              <a:defRPr sz="2041"/>
            </a:lvl2pPr>
            <a:lvl3pPr>
              <a:defRPr sz="2041"/>
            </a:lvl3pPr>
            <a:lvl4pPr>
              <a:spcAft>
                <a:spcPts val="0"/>
              </a:spcAft>
              <a:defRPr sz="2041"/>
            </a:lvl4pPr>
            <a:lvl5pPr>
              <a:spcAft>
                <a:spcPts val="0"/>
              </a:spcAft>
              <a:defRPr sz="204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ARBETSMATERIAL</a:t>
            </a:r>
          </a:p>
        </p:txBody>
      </p:sp>
    </p:spTree>
    <p:extLst>
      <p:ext uri="{BB962C8B-B14F-4D97-AF65-F5344CB8AC3E}">
        <p14:creationId xmlns:p14="http://schemas.microsoft.com/office/powerpoint/2010/main" val="3162074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77424" y="5412828"/>
            <a:ext cx="5474175" cy="1101937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ARBETSMATERIAL</a:t>
            </a:r>
          </a:p>
        </p:txBody>
      </p:sp>
      <p:sp>
        <p:nvSpPr>
          <p:cNvPr id="6" name="Rektangel med rundade hörn på samma sida 5"/>
          <p:cNvSpPr/>
          <p:nvPr/>
        </p:nvSpPr>
        <p:spPr>
          <a:xfrm rot="5400000" flipH="1">
            <a:off x="3288309" y="10508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1162" tIns="36731" rIns="73462" bIns="36731" rtlCol="0" anchor="ctr" anchorCtr="0"/>
          <a:lstStyle/>
          <a:p>
            <a:pPr lvl="0"/>
            <a:endParaRPr lang="en-GB" sz="2041" b="1" kern="0" dirty="0" err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2445" y="4004673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400395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7064589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BottomBar"/>
          <p:cNvSpPr>
            <a:spLocks noChangeArrowheads="1"/>
          </p:cNvSpPr>
          <p:nvPr/>
        </p:nvSpPr>
        <p:spPr bwMode="auto">
          <a:xfrm rot="10800000">
            <a:off x="0" y="6454683"/>
            <a:ext cx="9906000" cy="403317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3287" tIns="46644" rIns="93287" bIns="46644" anchor="ctr"/>
          <a:lstStyle/>
          <a:p>
            <a:pPr algn="ctr">
              <a:defRPr/>
            </a:pPr>
            <a:endParaRPr lang="sv-SE" sz="1745"/>
          </a:p>
        </p:txBody>
      </p:sp>
      <p:pic>
        <p:nvPicPr>
          <p:cNvPr id="10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61286" y="6507557"/>
            <a:ext cx="1422144" cy="286273"/>
          </a:xfrm>
          <a:prstGeom prst="rect">
            <a:avLst/>
          </a:prstGeom>
          <a:noFill/>
        </p:spPr>
      </p:pic>
      <p:cxnSp>
        <p:nvCxnSpPr>
          <p:cNvPr id="14" name="Rak 13"/>
          <p:cNvCxnSpPr/>
          <p:nvPr/>
        </p:nvCxnSpPr>
        <p:spPr>
          <a:xfrm>
            <a:off x="0" y="6454872"/>
            <a:ext cx="9906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325796" y="434718"/>
            <a:ext cx="6525049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ts val="2449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389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308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5796" y="1120864"/>
            <a:ext cx="9257316" cy="1707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390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ARBETSMATER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24" r:id="rId2"/>
    <p:sldLayoutId id="2147483725" r:id="rId3"/>
    <p:sldLayoutId id="2147483726" r:id="rId4"/>
    <p:sldLayoutId id="2147483707" r:id="rId5"/>
    <p:sldLayoutId id="2147483721" r:id="rId6"/>
    <p:sldLayoutId id="2147483723" r:id="rId7"/>
    <p:sldLayoutId id="2147483705" r:id="rId8"/>
    <p:sldLayoutId id="2147483728" r:id="rId9"/>
    <p:sldLayoutId id="2147483729" r:id="rId10"/>
    <p:sldLayoutId id="2147483730" r:id="rId11"/>
    <p:sldLayoutId id="2147483731" r:id="rId12"/>
    <p:sldLayoutId id="2147483732" r:id="rId13"/>
  </p:sldLayoutIdLst>
  <p:hf hd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defRPr lang="en-US" sz="2245" b="1" dirty="0" smtClean="0">
          <a:solidFill>
            <a:schemeClr val="tx1"/>
          </a:solidFill>
          <a:latin typeface="Georgia" pitchFamily="18" charset="0"/>
          <a:ea typeface="+mj-ea"/>
          <a:cs typeface="Georgia" pitchFamily="18" charset="0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ts val="306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Calibri" pitchFamily="34" charset="0"/>
        </a:defRPr>
      </a:lvl1pPr>
      <a:lvl2pPr marL="197586" indent="-195966" algn="l" defTabSz="913429" rtl="0" eaLnBrk="1" fontAlgn="base" hangingPunct="1">
        <a:spcBef>
          <a:spcPct val="0"/>
        </a:spcBef>
        <a:spcAft>
          <a:spcPts val="306"/>
        </a:spcAft>
        <a:buClr>
          <a:schemeClr val="accent4"/>
        </a:buClr>
        <a:buChar char="•"/>
        <a:defRPr sz="1632">
          <a:solidFill>
            <a:schemeClr val="tx1"/>
          </a:solidFill>
          <a:latin typeface="+mn-lt"/>
          <a:cs typeface="Calibri" pitchFamily="34" charset="0"/>
        </a:defRPr>
      </a:lvl2pPr>
      <a:lvl3pPr marL="369298" indent="-184649" algn="l" defTabSz="913429" rtl="0" eaLnBrk="1" fontAlgn="base" hangingPunct="1">
        <a:spcBef>
          <a:spcPct val="0"/>
        </a:spcBef>
        <a:spcAft>
          <a:spcPts val="306"/>
        </a:spcAft>
        <a:buClr>
          <a:schemeClr val="accent4"/>
        </a:buClr>
        <a:buFont typeface="Arial" charset="0"/>
        <a:buChar char="–"/>
        <a:defRPr sz="1632">
          <a:solidFill>
            <a:schemeClr val="tx1"/>
          </a:solidFill>
          <a:latin typeface="+mn-lt"/>
          <a:cs typeface="Calibri" pitchFamily="34" charset="0"/>
        </a:defRPr>
      </a:lvl3pPr>
      <a:lvl4pPr marL="545848" indent="-176551" algn="l" defTabSz="913429" rtl="0" eaLnBrk="1" fontAlgn="base" hangingPunct="1">
        <a:spcBef>
          <a:spcPct val="0"/>
        </a:spcBef>
        <a:spcAft>
          <a:spcPts val="306"/>
        </a:spcAft>
        <a:buClr>
          <a:schemeClr val="accent4"/>
        </a:buClr>
        <a:buFont typeface="Arial" pitchFamily="34" charset="0"/>
        <a:buChar char="•"/>
        <a:defRPr sz="1632">
          <a:solidFill>
            <a:schemeClr val="tx1"/>
          </a:solidFill>
          <a:latin typeface="+mn-lt"/>
          <a:cs typeface="Calibri" pitchFamily="34" charset="0"/>
        </a:defRPr>
      </a:lvl4pPr>
      <a:lvl5pPr marL="730497" indent="-184649" algn="l" defTabSz="913429" rtl="0" eaLnBrk="1" fontAlgn="base" hangingPunct="1">
        <a:spcBef>
          <a:spcPct val="0"/>
        </a:spcBef>
        <a:spcAft>
          <a:spcPts val="306"/>
        </a:spcAft>
        <a:buClr>
          <a:schemeClr val="accent4"/>
        </a:buClr>
        <a:buFont typeface="Arial" charset="0"/>
        <a:buChar char="-"/>
        <a:defRPr sz="1632">
          <a:solidFill>
            <a:schemeClr val="tx1"/>
          </a:solidFill>
          <a:latin typeface="+mn-lt"/>
          <a:cs typeface="Calibri" pitchFamily="34" charset="0"/>
        </a:defRPr>
      </a:lvl5pPr>
      <a:lvl6pPr marL="1227622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1694054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2160486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262691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4601001"/>
              </p:ext>
            </p:extLst>
          </p:nvPr>
        </p:nvGraphicFramePr>
        <p:xfrm>
          <a:off x="382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289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7"/>
          <p:cNvSpPr txBox="1">
            <a:spLocks/>
          </p:cNvSpPr>
          <p:nvPr/>
        </p:nvSpPr>
        <p:spPr bwMode="auto">
          <a:xfrm>
            <a:off x="66280" y="179095"/>
            <a:ext cx="4810519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91229" rtl="0" eaLnBrk="1" fontAlgn="base" hangingPunct="1">
              <a:lnSpc>
                <a:spcPts val="1317"/>
              </a:lnSpc>
              <a:spcBef>
                <a:spcPct val="0"/>
              </a:spcBef>
              <a:spcAft>
                <a:spcPct val="0"/>
              </a:spcAft>
              <a:defRPr lang="en-GB" sz="1207" b="1">
                <a:solidFill>
                  <a:srgbClr val="E6460A"/>
                </a:solidFill>
                <a:latin typeface="Georgia" pitchFamily="18" charset="0"/>
                <a:ea typeface="+mj-ea"/>
                <a:cs typeface="Georgia" pitchFamily="18" charset="0"/>
              </a:defRPr>
            </a:lvl1pPr>
            <a:lvl2pPr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2pPr>
            <a:lvl3pPr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3pPr>
            <a:lvl4pPr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4pPr>
            <a:lvl5pPr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5pPr>
            <a:lvl6pPr marL="250840"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6pPr>
            <a:lvl7pPr marL="501681"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7pPr>
            <a:lvl8pPr marL="752520"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8pPr>
            <a:lvl9pPr marL="1003362"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 rtl="1">
              <a:lnSpc>
                <a:spcPct val="100000"/>
              </a:lnSpc>
            </a:pPr>
            <a:r>
              <a:rPr lang="fa-IR" sz="1800" b="0" dirty="0"/>
              <a:t>به </a:t>
            </a:r>
            <a:r>
              <a:rPr lang="fa-IR" sz="1800" b="0" dirty="0" smtClean="0"/>
              <a:t>این دوره </a:t>
            </a:r>
            <a:r>
              <a:rPr lang="fa-IR" sz="1800" b="0" dirty="0"/>
              <a:t>خوش آمدید:</a:t>
            </a:r>
            <a:r>
              <a:rPr lang="fa-IR" sz="1800" dirty="0"/>
              <a:t/>
            </a:r>
            <a:br>
              <a:rPr lang="fa-IR" sz="1800" dirty="0"/>
            </a:br>
            <a:endParaRPr lang="en-GB" sz="1800" kern="0" dirty="0">
              <a:latin typeface="+mj-lt"/>
            </a:endParaRPr>
          </a:p>
          <a:p>
            <a:pPr algn="ctr" rtl="1">
              <a:lnSpc>
                <a:spcPct val="100000"/>
              </a:lnSpc>
            </a:pPr>
            <a:r>
              <a:rPr lang="fa-IR" sz="3200" kern="0" dirty="0">
                <a:latin typeface="+mj-lt"/>
              </a:rPr>
              <a:t>بیمه درمانی</a:t>
            </a:r>
          </a:p>
          <a:p>
            <a:pPr algn="ctr" rtl="1">
              <a:lnSpc>
                <a:spcPct val="100000"/>
              </a:lnSpc>
            </a:pPr>
            <a:endParaRPr lang="en-GB" sz="3200" b="0" kern="0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4948989" y="0"/>
            <a:ext cx="0" cy="6858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>
          <a:xfrm>
            <a:off x="5215712" y="1201373"/>
            <a:ext cx="4469090" cy="4825473"/>
          </a:xfrm>
          <a:prstGeom prst="rect">
            <a:avLst/>
          </a:prstGeom>
          <a:solidFill>
            <a:srgbClr val="FFEBAB"/>
          </a:solidFill>
          <a:ln w="127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1"/>
            <a:endParaRPr lang="en-GB" sz="1400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8574026" y="1586538"/>
            <a:ext cx="1110776" cy="52940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>
              <a:buClr>
                <a:srgbClr val="41AE61"/>
              </a:buClr>
            </a:pPr>
            <a:r>
              <a:rPr lang="fa-IR" sz="1400" b="1" i="1" u="none" kern="0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چه زمانی؟</a:t>
            </a:r>
            <a:endParaRPr lang="en-GB" sz="1400" b="1" i="1" u="none" kern="0" baseline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Text Placeholder 2"/>
          <p:cNvSpPr txBox="1">
            <a:spLocks/>
          </p:cNvSpPr>
          <p:nvPr/>
        </p:nvSpPr>
        <p:spPr>
          <a:xfrm>
            <a:off x="6320153" y="1558102"/>
            <a:ext cx="1914960" cy="52940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>
              <a:buClr>
                <a:srgbClr val="41AE61"/>
              </a:buClr>
            </a:pPr>
            <a:r>
              <a:rPr lang="fa-IR" sz="1400" b="0" i="0" u="none" kern="0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تاریخ:</a:t>
            </a:r>
            <a:endParaRPr lang="en-GB" sz="1400" b="0" i="0" u="none" kern="0" baseline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 rtl="0">
              <a:buClr>
                <a:srgbClr val="41AE61"/>
              </a:buClr>
            </a:pPr>
            <a:r>
              <a:rPr lang="en-GB" sz="1400" b="0" i="0" u="none" kern="0" baseline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</a:p>
          <a:p>
            <a:pPr algn="r" rtl="1">
              <a:buClr>
                <a:srgbClr val="41AE61"/>
              </a:buClr>
            </a:pPr>
            <a:r>
              <a:rPr lang="fa-IR" sz="1400" kern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زمان: - ق.ظ/ب.ظ</a:t>
            </a:r>
          </a:p>
          <a:p>
            <a:pPr algn="r" rtl="1">
              <a:buClr>
                <a:srgbClr val="41AE61"/>
              </a:buClr>
            </a:pPr>
            <a:r>
              <a:rPr lang="fa-IR" sz="1400" kern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زمان. - )</a:t>
            </a: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8099779" y="2904249"/>
            <a:ext cx="1110776" cy="27491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>
              <a:buClr>
                <a:srgbClr val="41AE61"/>
              </a:buClr>
            </a:pPr>
            <a:r>
              <a:rPr lang="fa-IR" sz="1400" b="1" i="1" u="none" kern="0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کجا؟</a:t>
            </a:r>
            <a:endParaRPr lang="en-GB" sz="1400" b="1" i="1" u="none" kern="0" baseline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Text Placeholder 2"/>
          <p:cNvSpPr txBox="1">
            <a:spLocks/>
          </p:cNvSpPr>
          <p:nvPr/>
        </p:nvSpPr>
        <p:spPr>
          <a:xfrm>
            <a:off x="8516794" y="4854627"/>
            <a:ext cx="1110777" cy="40902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>
              <a:buClr>
                <a:srgbClr val="41AE61"/>
              </a:buClr>
            </a:pPr>
            <a:r>
              <a:rPr lang="fa-IR" sz="1400" b="1" i="1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مدیر </a:t>
            </a:r>
            <a:r>
              <a:rPr lang="fa-IR" sz="1400" b="1" i="1" kern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دوره:</a:t>
            </a:r>
          </a:p>
          <a:p>
            <a:pPr algn="l" rtl="0">
              <a:buClr>
                <a:srgbClr val="41AE61"/>
              </a:buClr>
            </a:pPr>
            <a:r>
              <a:rPr lang="en-GB" sz="1400" b="0" i="0" u="none" kern="0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-GB" sz="1400" b="0" i="0" u="none" kern="0" baseline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Text Placeholder 2"/>
          <p:cNvSpPr txBox="1">
            <a:spLocks/>
          </p:cNvSpPr>
          <p:nvPr/>
        </p:nvSpPr>
        <p:spPr>
          <a:xfrm>
            <a:off x="6657241" y="5645418"/>
            <a:ext cx="3189842" cy="528414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 rtl="0">
              <a:buClr>
                <a:srgbClr val="41AE61"/>
              </a:buClr>
            </a:pPr>
            <a:endParaRPr lang="en-GB" sz="1400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5153526" y="6613122"/>
            <a:ext cx="4752474" cy="246571"/>
          </a:xfrm>
          <a:prstGeom prst="rect">
            <a:avLst/>
          </a:prstGeom>
          <a:solidFill>
            <a:srgbClr val="0069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n-GB" sz="988">
              <a:solidFill>
                <a:srgbClr val="FFFFFF"/>
              </a:solidFill>
            </a:endParaRPr>
          </a:p>
        </p:txBody>
      </p:sp>
      <p:sp>
        <p:nvSpPr>
          <p:cNvPr id="45" name="Text Placeholder 2"/>
          <p:cNvSpPr txBox="1">
            <a:spLocks/>
          </p:cNvSpPr>
          <p:nvPr/>
        </p:nvSpPr>
        <p:spPr>
          <a:xfrm>
            <a:off x="8531974" y="3439059"/>
            <a:ext cx="1111086" cy="528414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>
              <a:buClr>
                <a:srgbClr val="41AE61"/>
              </a:buClr>
            </a:pPr>
            <a:r>
              <a:rPr lang="fa-IR" sz="1400" b="1" i="1" u="none" kern="0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زبان؟</a:t>
            </a:r>
            <a:endParaRPr lang="en-GB" sz="1400" b="0" i="0" u="none" kern="0" baseline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6" name="Text Placeholder 2"/>
          <p:cNvSpPr txBox="1">
            <a:spLocks/>
          </p:cNvSpPr>
          <p:nvPr/>
        </p:nvSpPr>
        <p:spPr>
          <a:xfrm>
            <a:off x="6657241" y="4943390"/>
            <a:ext cx="3189842" cy="68998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 rtl="0">
              <a:buClr>
                <a:srgbClr val="41AE61"/>
              </a:buClr>
            </a:pPr>
            <a:endParaRPr lang="en-GB" sz="1400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0" y="6613122"/>
            <a:ext cx="4744452" cy="246571"/>
          </a:xfrm>
          <a:prstGeom prst="rect">
            <a:avLst/>
          </a:prstGeom>
          <a:solidFill>
            <a:srgbClr val="0069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n-GB" sz="988">
              <a:solidFill>
                <a:srgbClr val="FFFFFF"/>
              </a:solidFill>
            </a:endParaRPr>
          </a:p>
        </p:txBody>
      </p:sp>
      <p:sp>
        <p:nvSpPr>
          <p:cNvPr id="3" name="textruta 2"/>
          <p:cNvSpPr txBox="1"/>
          <p:nvPr/>
        </p:nvSpPr>
        <p:spPr>
          <a:xfrm>
            <a:off x="217717" y="1476955"/>
            <a:ext cx="4396476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1"/>
            <a:r>
              <a:rPr lang="fa-IR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در این دوره شما با نحوه دریافت مراقبت های پزشکی در سوئد آشنا می شوید و اینکه چه کارهایی را خودتان می توانید انجام دهید:</a:t>
            </a:r>
          </a:p>
        </p:txBody>
      </p:sp>
      <p:sp>
        <p:nvSpPr>
          <p:cNvPr id="4" name="textruta 3"/>
          <p:cNvSpPr txBox="1"/>
          <p:nvPr/>
        </p:nvSpPr>
        <p:spPr>
          <a:xfrm>
            <a:off x="227897" y="4422582"/>
            <a:ext cx="448728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1"/>
            <a:r>
              <a:rPr lang="fa-IR" sz="2000" dirty="0">
                <a:latin typeface="+mn-lt"/>
              </a:rPr>
              <a:t>این دوره برای تازه واردها به سوئد ترتیب داده شده است.</a:t>
            </a:r>
          </a:p>
          <a:p>
            <a:pPr algn="r" rtl="1"/>
            <a:r>
              <a:rPr lang="fa-IR" sz="2000" dirty="0">
                <a:latin typeface="+mn-lt"/>
              </a:rPr>
              <a:t>این دوره رایگان است.</a:t>
            </a:r>
          </a:p>
        </p:txBody>
      </p:sp>
      <p:sp>
        <p:nvSpPr>
          <p:cNvPr id="25" name="textruta 24"/>
          <p:cNvSpPr txBox="1"/>
          <p:nvPr/>
        </p:nvSpPr>
        <p:spPr>
          <a:xfrm>
            <a:off x="210625" y="2732202"/>
            <a:ext cx="4360380" cy="12157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r" rt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a-IR" sz="1600" dirty="0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• داشتن احساس بهتر</a:t>
            </a:r>
          </a:p>
          <a:p>
            <a:pPr marL="285750" indent="-285750" algn="r" rt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a-IR" sz="1600" dirty="0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• مدیریت استرس</a:t>
            </a:r>
          </a:p>
          <a:p>
            <a:pPr marL="285750" indent="-285750" algn="r" rt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a-IR" sz="1600" dirty="0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• خواب بهتر</a:t>
            </a:r>
          </a:p>
          <a:p>
            <a:pPr marL="285750" indent="-285750" algn="r" rt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a-IR" sz="1600" dirty="0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• استراحت کردن</a:t>
            </a:r>
          </a:p>
        </p:txBody>
      </p:sp>
      <p:sp>
        <p:nvSpPr>
          <p:cNvPr id="2" name="Rektangel 1"/>
          <p:cNvSpPr/>
          <p:nvPr/>
        </p:nvSpPr>
        <p:spPr>
          <a:xfrm>
            <a:off x="6320153" y="3398810"/>
            <a:ext cx="242899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fa-IR" sz="1400" dirty="0"/>
              <a:t>محل دوره: سوئد</a:t>
            </a:r>
          </a:p>
          <a:p>
            <a:pPr algn="r" rtl="1"/>
            <a:r>
              <a:rPr lang="fa-IR" sz="1400" dirty="0"/>
              <a:t>زبان دوره: دری</a:t>
            </a:r>
          </a:p>
          <a:p>
            <a:pPr algn="r" rtl="1"/>
            <a:r>
              <a:rPr lang="fa-IR" sz="1400" dirty="0"/>
              <a:t>ترجمه دوره: دری</a:t>
            </a:r>
            <a:endParaRPr lang="en-GB" sz="1400" dirty="0"/>
          </a:p>
        </p:txBody>
      </p:sp>
      <p:sp>
        <p:nvSpPr>
          <p:cNvPr id="21" name="Text Placeholder 2"/>
          <p:cNvSpPr txBox="1">
            <a:spLocks/>
          </p:cNvSpPr>
          <p:nvPr/>
        </p:nvSpPr>
        <p:spPr>
          <a:xfrm>
            <a:off x="8369216" y="5486796"/>
            <a:ext cx="1258355" cy="40902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>
              <a:buClr>
                <a:srgbClr val="41AE61"/>
              </a:buClr>
            </a:pPr>
            <a:r>
              <a:rPr lang="fa-IR" sz="1400" b="1" i="1" kern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ثبت نام:</a:t>
            </a:r>
            <a:r>
              <a:rPr lang="en-GB" sz="1400" b="0" i="0" u="none" kern="0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-GB" sz="1400" b="0" i="0" u="none" kern="0" baseline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536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Default_HN">
  <a:themeElements>
    <a:clrScheme name="HealthNavigator">
      <a:dk1>
        <a:srgbClr val="000000"/>
      </a:dk1>
      <a:lt1>
        <a:srgbClr val="FFFFFF"/>
      </a:lt1>
      <a:dk2>
        <a:srgbClr val="41AE61"/>
      </a:dk2>
      <a:lt2>
        <a:srgbClr val="002960"/>
      </a:lt2>
      <a:accent1>
        <a:srgbClr val="CDE4EC"/>
      </a:accent1>
      <a:accent2>
        <a:srgbClr val="5BA6C1"/>
      </a:accent2>
      <a:accent3>
        <a:srgbClr val="2D6679"/>
      </a:accent3>
      <a:accent4>
        <a:srgbClr val="1E4652"/>
      </a:accent4>
      <a:accent5>
        <a:srgbClr val="A4053D"/>
      </a:accent5>
      <a:accent6>
        <a:srgbClr val="80110A"/>
      </a:accent6>
      <a:hlink>
        <a:srgbClr val="2D6679"/>
      </a:hlink>
      <a:folHlink>
        <a:srgbClr val="1E4652"/>
      </a:folHlink>
    </a:clrScheme>
    <a:fontScheme name="Anpassat 2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bg1">
              <a:lumMod val="75000"/>
            </a:schemeClr>
          </a:solidFill>
        </a:ln>
        <a:effectLst/>
      </a:spPr>
      <a:bodyPr rtlCol="0" anchor="t" anchorCtr="0"/>
      <a:lstStyle>
        <a:defPPr>
          <a:defRPr dirty="0" smtClean="0">
            <a:solidFill>
              <a:schemeClr val="tx1"/>
            </a:solidFill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2D66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A1A1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_HN" id="{1A1F4396-3492-4FF2-9890-458CEF186BC0}" vid="{414BF552-C697-4A3D-AAD7-035D9D078C5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00</Words>
  <Application>Microsoft Office PowerPoint</Application>
  <PresentationFormat>A4 (210 x 297 mm)</PresentationFormat>
  <Paragraphs>22</Paragraphs>
  <Slides>1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</vt:i4>
      </vt:variant>
    </vt:vector>
  </HeadingPairs>
  <TitlesOfParts>
    <vt:vector size="7" baseType="lpstr">
      <vt:lpstr>Arial</vt:lpstr>
      <vt:lpstr>Calibri</vt:lpstr>
      <vt:lpstr>Georgia</vt:lpstr>
      <vt:lpstr>Verdana</vt:lpstr>
      <vt:lpstr>Default_HN</vt:lpstr>
      <vt:lpstr>think-cell Slide</vt:lpstr>
      <vt:lpstr>PowerPoint-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2-23T12:50:30Z</dcterms:created>
  <dcterms:modified xsi:type="dcterms:W3CDTF">2016-09-16T08:34:26Z</dcterms:modified>
</cp:coreProperties>
</file>